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7"/>
  </p:notesMasterIdLst>
  <p:sldIdLst>
    <p:sldId id="11410" r:id="rId6"/>
  </p:sldIdLst>
  <p:sldSz cx="12192000" cy="6858000"/>
  <p:notesSz cx="6797675" cy="9926638"/>
  <p:defaultTextStyle>
    <a:defPPr>
      <a:defRPr lang="sk-S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59" autoAdjust="0"/>
    <p:restoredTop sz="95268" autoAdjust="0"/>
  </p:normalViewPr>
  <p:slideViewPr>
    <p:cSldViewPr snapToGrid="0">
      <p:cViewPr varScale="1">
        <p:scale>
          <a:sx n="111" d="100"/>
          <a:sy n="111" d="100"/>
        </p:scale>
        <p:origin x="642" y="-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objekt pre dá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3B8245-DDF6-4597-BC79-EC2BB5CCFDC4}" type="datetimeFigureOut">
              <a:rPr lang="sk-SK" smtClean="0"/>
              <a:t>30.04.2026</a:t>
            </a:fld>
            <a:endParaRPr lang="sk-SK"/>
          </a:p>
        </p:txBody>
      </p:sp>
      <p:sp>
        <p:nvSpPr>
          <p:cNvPr id="4" name="Zástupný objekt pre obrázok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Zástupný objekt pre poznámky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6C35E8-DD75-4E64-865F-35E2D0E305F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014677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C53692-0CC1-4F54-A35D-0248286E948D}" type="slidenum">
              <a:rPr kumimoji="0" lang="sk-S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k-S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9508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993F616-7BA8-40BE-8C76-9186DAE78F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4B96EBF-6AE9-4D26-B1B3-47D07FF788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/>
              <a:t>Kliknutím upravte štýl predlohy podnadpisu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364F51A1-B1E2-4E78-9B24-E6D35B1E29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30.04.2026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64A05C9B-0FFE-4D55-90E4-9E1EE40893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E5937481-9D2B-4352-B178-C896FB1EC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4849703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CC85304-883A-4575-98C0-BD0B92F70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zvislý text 2">
            <a:extLst>
              <a:ext uri="{FF2B5EF4-FFF2-40B4-BE49-F238E27FC236}">
                <a16:creationId xmlns:a16="http://schemas.microsoft.com/office/drawing/2014/main" id="{C7EA3AD5-442A-4BD1-B9F0-7DA0519888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243FA533-E983-4E34-9AC8-47FDD98146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30.04.2026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DE491621-7F18-45A3-80E2-AE9FEE42B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C7F0C454-A0BF-4C30-A72E-1519BD1BF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8112218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vislý nadpis 1">
            <a:extLst>
              <a:ext uri="{FF2B5EF4-FFF2-40B4-BE49-F238E27FC236}">
                <a16:creationId xmlns:a16="http://schemas.microsoft.com/office/drawing/2014/main" id="{F63E9961-B0E8-45FE-9536-FDDA25531C1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zvislý text 2">
            <a:extLst>
              <a:ext uri="{FF2B5EF4-FFF2-40B4-BE49-F238E27FC236}">
                <a16:creationId xmlns:a16="http://schemas.microsoft.com/office/drawing/2014/main" id="{BAA79EBD-723B-406B-AE67-C7F1D83BA2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714FFBD8-6F8C-4E3B-B17F-1EF388D91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30.04.2026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D0B20FC8-8B9F-4823-A2B4-F13DD9C4CC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C5D420AA-859D-4A5A-946F-8645A6DFF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6388990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 tIns="4320000"/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11592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8620800" y="381600"/>
            <a:ext cx="3052800" cy="5868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0" name="Title 7"/>
          <p:cNvSpPr>
            <a:spLocks noGrp="1"/>
          </p:cNvSpPr>
          <p:nvPr>
            <p:ph type="ctrTitle" hasCustomPrompt="1"/>
          </p:nvPr>
        </p:nvSpPr>
        <p:spPr>
          <a:xfrm>
            <a:off x="560916" y="1341438"/>
            <a:ext cx="11076517" cy="1157378"/>
          </a:xfrm>
        </p:spPr>
        <p:txBody>
          <a:bodyPr anchor="b" anchorCtr="0"/>
          <a:lstStyle/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12" name="Subtitle 8"/>
          <p:cNvSpPr>
            <a:spLocks noGrp="1"/>
          </p:cNvSpPr>
          <p:nvPr>
            <p:ph type="subTitle" idx="1" hasCustomPrompt="1"/>
          </p:nvPr>
        </p:nvSpPr>
        <p:spPr>
          <a:xfrm>
            <a:off x="558799" y="2682582"/>
            <a:ext cx="11078633" cy="38909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 sz="1400"/>
            </a:lvl1pPr>
          </a:lstStyle>
          <a:p>
            <a:r>
              <a:rPr lang="en-GB" dirty="0"/>
              <a:t>Click to insert name and title of presenter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6284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801" y="1341438"/>
            <a:ext cx="11078633" cy="46609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61386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7200"/>
            <a:ext cx="12192000" cy="3092400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0916" y="1341438"/>
            <a:ext cx="11076517" cy="115737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799" y="2682582"/>
            <a:ext cx="11078633" cy="389093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3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8620800" y="381600"/>
            <a:ext cx="3052800" cy="586800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pic>
        <p:nvPicPr>
          <p:cNvPr id="9" name="Picture Placeholder 3" descr="_0006_4.jp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384" y="1788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962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558801" y="1341439"/>
            <a:ext cx="5422900" cy="46799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6212418" y="1341439"/>
            <a:ext cx="5425015" cy="46799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2845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58800" y="295275"/>
            <a:ext cx="5422901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8801" y="1341439"/>
            <a:ext cx="5422900" cy="467994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12418" y="1"/>
            <a:ext cx="5979581" cy="6392863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354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212418" y="295275"/>
            <a:ext cx="5425015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05161" y="1341438"/>
            <a:ext cx="5423807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5981700" cy="6392863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4716303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8800" y="1341438"/>
            <a:ext cx="6881283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7663033" y="1341439"/>
            <a:ext cx="3974400" cy="4679950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7359941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56801" y="1341438"/>
            <a:ext cx="6880633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58800" y="1341439"/>
            <a:ext cx="3974400" cy="4679950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350546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1FA9367-043E-4AC7-B17D-E79DFD202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31F05B6B-C9BE-45D4-BFE5-C26F235C4B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5D183C4B-0A7E-43C1-8515-FA4DE3561E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k-SK" dirty="0" err="1"/>
              <a:t>Politoka</a:t>
            </a:r>
            <a:r>
              <a:rPr lang="sk-SK" dirty="0"/>
              <a:t> kvality, </a:t>
            </a:r>
            <a:r>
              <a:rPr lang="sk-SK" dirty="0" err="1"/>
              <a:t>Rev.A</a:t>
            </a:r>
            <a:endParaRPr lang="sk-SK" dirty="0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F3BCE4F9-91C7-406B-A34A-D4AB5AD36E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23F8B31A-FFE0-44C9-AE67-9C262FF66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0840278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918" y="1341438"/>
            <a:ext cx="11068049" cy="518273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8" name="Page#"/>
          <p:cNvSpPr txBox="1">
            <a:spLocks noChangeArrowheads="1"/>
          </p:cNvSpPr>
          <p:nvPr userDrawn="1"/>
        </p:nvSpPr>
        <p:spPr bwMode="auto">
          <a:xfrm>
            <a:off x="85908" y="6621841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>
                <a:solidFill>
                  <a:srgbClr val="000000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rgbClr val="000000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4880779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801" y="1341438"/>
            <a:ext cx="11078633" cy="467995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51416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558800" y="1341439"/>
            <a:ext cx="5424000" cy="46799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6206400" y="1341439"/>
            <a:ext cx="5424000" cy="46799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9076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58800" y="295275"/>
            <a:ext cx="5422901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8801" y="1341439"/>
            <a:ext cx="5422900" cy="467994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12418" y="1"/>
            <a:ext cx="5979581" cy="6392863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9529111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212418" y="295275"/>
            <a:ext cx="5425015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05161" y="1341438"/>
            <a:ext cx="5423807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5981700" cy="6392863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0446702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8800" y="1341438"/>
            <a:ext cx="6881283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7663033" y="1341439"/>
            <a:ext cx="3974400" cy="4679950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6510515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56801" y="1341438"/>
            <a:ext cx="6880633" cy="46799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58800" y="1341439"/>
            <a:ext cx="3974400" cy="4679950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8311486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918" y="1341438"/>
            <a:ext cx="11068049" cy="518273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Page#"/>
          <p:cNvSpPr txBox="1">
            <a:spLocks noChangeArrowheads="1"/>
          </p:cNvSpPr>
          <p:nvPr userDrawn="1"/>
        </p:nvSpPr>
        <p:spPr bwMode="auto">
          <a:xfrm>
            <a:off x="85908" y="6621841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>
                <a:solidFill>
                  <a:srgbClr val="000000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rgbClr val="000000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2162343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12192000" cy="6392863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71432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U:\Danfoss\Jobs\5123_Hjaelp til PowerPoint skabeloner\Received\Nyeste grafikker\Ny Grafik til SD\Ny Grafik til SD\PPT_frontpage_4-3_full_red_backdrop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6709" y="188775"/>
            <a:ext cx="3052064" cy="585216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60916" y="1341438"/>
            <a:ext cx="11076517" cy="115737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799" y="2682582"/>
            <a:ext cx="11078633" cy="389093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4151682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41ED79-CF5F-4862-A55F-0D51A711B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text 2">
            <a:extLst>
              <a:ext uri="{FF2B5EF4-FFF2-40B4-BE49-F238E27FC236}">
                <a16:creationId xmlns:a16="http://schemas.microsoft.com/office/drawing/2014/main" id="{5353F007-1F1B-4130-8A9B-0C46286C76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166A1ADC-C373-4C23-A0FC-EE24ED5463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30.04.2026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3ABE6219-7CFE-4618-95CD-6AE9A9F42C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32E3CB82-6F24-4634-B74E-D9837E05A5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2616283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2051" name="Boxlogo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12692" y="2189487"/>
            <a:ext cx="4130947" cy="1354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63819" y="3887527"/>
            <a:ext cx="3288000" cy="643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683342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 hasCustomPrompt="1"/>
          </p:nvPr>
        </p:nvSpPr>
        <p:spPr>
          <a:xfrm>
            <a:off x="580131" y="1459118"/>
            <a:ext cx="10972800" cy="518346"/>
          </a:xfrm>
        </p:spPr>
        <p:txBody>
          <a:bodyPr vert="horz" lIns="0" tIns="0" rIns="0" bIns="0" anchor="b">
            <a:noAutofit/>
          </a:bodyPr>
          <a:lstStyle>
            <a:lvl1pPr>
              <a:defRPr sz="2500" b="0" cap="none" spc="0" baseline="0">
                <a:ln>
                  <a:noFill/>
                </a:ln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kumimoji="0" lang="en-US" dirty="0"/>
              <a:t>Presentation title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 hasCustomPrompt="1"/>
          </p:nvPr>
        </p:nvSpPr>
        <p:spPr>
          <a:xfrm>
            <a:off x="580131" y="2006215"/>
            <a:ext cx="10969325" cy="484888"/>
          </a:xfrm>
        </p:spPr>
        <p:txBody>
          <a:bodyPr lIns="0" rIns="0"/>
          <a:lstStyle>
            <a:lvl1pPr marL="0" indent="0" algn="l">
              <a:buNone/>
              <a:defRPr sz="25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dirty="0"/>
              <a:t>Verdana Bold 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1774171480"/>
      </p:ext>
    </p:extLst>
  </p:cSld>
  <p:clrMapOvr>
    <a:masterClrMapping/>
  </p:clrMapOvr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0919" y="588735"/>
            <a:ext cx="11025715" cy="579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39233" y="6455049"/>
            <a:ext cx="3860800" cy="292627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2628" y="6455049"/>
            <a:ext cx="544872" cy="292627"/>
          </a:xfrm>
          <a:prstGeom prst="rect">
            <a:avLst/>
          </a:prstGeom>
        </p:spPr>
        <p:txBody>
          <a:bodyPr/>
          <a:lstStyle/>
          <a:p>
            <a:fld id="{F8692537-37EA-4940-94EF-5BABC570D227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 dirty="0">
                <a:solidFill>
                  <a:srgbClr val="000000"/>
                </a:solidFill>
                <a:ea typeface="Verdana"/>
                <a:cs typeface="Verdana"/>
              </a:rPr>
              <a:t>│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669507"/>
      </p:ext>
    </p:extLst>
  </p:cSld>
  <p:clrMapOvr>
    <a:masterClrMapping/>
  </p:clrMapOvr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"/>
            <a:ext cx="12192000" cy="6473371"/>
          </a:xfrm>
          <a:prstGeom prst="rect">
            <a:avLst/>
          </a:prstGeom>
          <a:gradFill flip="none" rotWithShape="1">
            <a:gsLst>
              <a:gs pos="0">
                <a:srgbClr val="CFCFCF"/>
              </a:gs>
              <a:gs pos="50000">
                <a:schemeClr val="bg1"/>
              </a:gs>
              <a:gs pos="100000">
                <a:srgbClr val="E4E4E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200" y="355201"/>
            <a:ext cx="10972800" cy="8277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5200" y="1316567"/>
            <a:ext cx="11260667" cy="48895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63553" y="6013752"/>
            <a:ext cx="4205185" cy="38463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520942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5"/>
          <p:cNvSpPr>
            <a:spLocks noGrp="1"/>
          </p:cNvSpPr>
          <p:nvPr>
            <p:ph type="title"/>
          </p:nvPr>
        </p:nvSpPr>
        <p:spPr>
          <a:xfrm>
            <a:off x="336000" y="28800"/>
            <a:ext cx="11517333" cy="1202400"/>
          </a:xfrm>
          <a:prstGeom prst="rect">
            <a:avLst/>
          </a:prstGeom>
        </p:spPr>
        <p:txBody>
          <a:bodyPr wrap="none" rtlCol="0">
            <a:noAutofit/>
          </a:bodyPr>
          <a:lstStyle>
            <a:lvl1pPr>
              <a:lnSpc>
                <a:spcPts val="5400"/>
              </a:lnSpc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652433" y="6584950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Page </a:t>
            </a:r>
            <a:fld id="{0050A437-077C-4435-B2FB-BAA23F0AF717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3926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AEBA38E-7AA4-436B-8410-4D4E7DF22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52E028FD-D23C-4F20-A7FB-A0585F5A9D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obsah 3">
            <a:extLst>
              <a:ext uri="{FF2B5EF4-FFF2-40B4-BE49-F238E27FC236}">
                <a16:creationId xmlns:a16="http://schemas.microsoft.com/office/drawing/2014/main" id="{2616EF3B-D544-4317-AC55-55FC1FA30A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409B39CD-F05E-4FD5-A4C5-64FC2B3C6A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30.04.2026</a:t>
            </a:fld>
            <a:endParaRPr lang="sk-SK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55354678-1DC3-4B83-B1B2-097E99454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2E971368-4AD8-426E-ADD9-768D5D9E74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0457533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63BBD3-D733-474F-A307-73F1D6CB2D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text 2">
            <a:extLst>
              <a:ext uri="{FF2B5EF4-FFF2-40B4-BE49-F238E27FC236}">
                <a16:creationId xmlns:a16="http://schemas.microsoft.com/office/drawing/2014/main" id="{A3C70414-4E1D-427D-AD84-EE03ED9F36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obsah 3">
            <a:extLst>
              <a:ext uri="{FF2B5EF4-FFF2-40B4-BE49-F238E27FC236}">
                <a16:creationId xmlns:a16="http://schemas.microsoft.com/office/drawing/2014/main" id="{0CE35498-73F1-41F9-8C0B-73471AC9BD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text 4">
            <a:extLst>
              <a:ext uri="{FF2B5EF4-FFF2-40B4-BE49-F238E27FC236}">
                <a16:creationId xmlns:a16="http://schemas.microsoft.com/office/drawing/2014/main" id="{8A8BB875-4880-4FF6-A4CE-CE568F96E8F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6" name="Zástupný objekt pre obsah 5">
            <a:extLst>
              <a:ext uri="{FF2B5EF4-FFF2-40B4-BE49-F238E27FC236}">
                <a16:creationId xmlns:a16="http://schemas.microsoft.com/office/drawing/2014/main" id="{360DC72F-96FF-4199-AF09-3235951DF6D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7" name="Zástupný objekt pre dátum 6">
            <a:extLst>
              <a:ext uri="{FF2B5EF4-FFF2-40B4-BE49-F238E27FC236}">
                <a16:creationId xmlns:a16="http://schemas.microsoft.com/office/drawing/2014/main" id="{159BCB19-BA96-4700-B895-BC240B5D9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30.04.2026</a:t>
            </a:fld>
            <a:endParaRPr lang="sk-SK"/>
          </a:p>
        </p:txBody>
      </p:sp>
      <p:sp>
        <p:nvSpPr>
          <p:cNvPr id="8" name="Zástupný objekt pre pätu 7">
            <a:extLst>
              <a:ext uri="{FF2B5EF4-FFF2-40B4-BE49-F238E27FC236}">
                <a16:creationId xmlns:a16="http://schemas.microsoft.com/office/drawing/2014/main" id="{D7FC9725-A9AC-4D41-AA37-F775FE06C6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9" name="Zástupný objekt pre číslo snímky 8">
            <a:extLst>
              <a:ext uri="{FF2B5EF4-FFF2-40B4-BE49-F238E27FC236}">
                <a16:creationId xmlns:a16="http://schemas.microsoft.com/office/drawing/2014/main" id="{5265C711-558F-4A36-80DD-4FA286217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5207159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EBD4AD-ACE7-49A3-9900-E33C02842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dátum 2">
            <a:extLst>
              <a:ext uri="{FF2B5EF4-FFF2-40B4-BE49-F238E27FC236}">
                <a16:creationId xmlns:a16="http://schemas.microsoft.com/office/drawing/2014/main" id="{2A756AF8-D9E6-43F9-ABB6-E7CCB0FEC4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30.04.2026</a:t>
            </a:fld>
            <a:endParaRPr lang="sk-SK"/>
          </a:p>
        </p:txBody>
      </p:sp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C54B73C6-1AFC-4B6F-850B-02781272F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34B7F46B-6DFE-45B9-9C3A-E854DDE7B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0693702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dátum 1">
            <a:extLst>
              <a:ext uri="{FF2B5EF4-FFF2-40B4-BE49-F238E27FC236}">
                <a16:creationId xmlns:a16="http://schemas.microsoft.com/office/drawing/2014/main" id="{D1049574-9FF2-4F71-AC84-35258404E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30.04.2026</a:t>
            </a:fld>
            <a:endParaRPr lang="sk-SK"/>
          </a:p>
        </p:txBody>
      </p:sp>
      <p:sp>
        <p:nvSpPr>
          <p:cNvPr id="3" name="Zástupný objekt pre pätu 2">
            <a:extLst>
              <a:ext uri="{FF2B5EF4-FFF2-40B4-BE49-F238E27FC236}">
                <a16:creationId xmlns:a16="http://schemas.microsoft.com/office/drawing/2014/main" id="{115A0B46-A08A-49C9-B911-54F8B84DE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objekt pre číslo snímky 3">
            <a:extLst>
              <a:ext uri="{FF2B5EF4-FFF2-40B4-BE49-F238E27FC236}">
                <a16:creationId xmlns:a16="http://schemas.microsoft.com/office/drawing/2014/main" id="{CC471BAE-E6A2-4858-B168-EB81C5948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9930120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9FF463-589F-4FF6-BF99-5A9CAA2C5A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FBE8EA8D-A4A8-451F-BFF9-F8EE88A405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text 3">
            <a:extLst>
              <a:ext uri="{FF2B5EF4-FFF2-40B4-BE49-F238E27FC236}">
                <a16:creationId xmlns:a16="http://schemas.microsoft.com/office/drawing/2014/main" id="{1FFA04FC-2B44-4BB6-BED9-E3CC7D1929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44BBC3F6-03BD-4840-9ADE-9B26AC0719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30.04.2026</a:t>
            </a:fld>
            <a:endParaRPr lang="sk-SK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9A304537-73EF-4D12-860D-578C3BA05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3D537B34-4F0D-4972-8338-1330BCA1E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1053122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4239E16-6B8D-448E-9ECE-13A443D618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rázok 2">
            <a:extLst>
              <a:ext uri="{FF2B5EF4-FFF2-40B4-BE49-F238E27FC236}">
                <a16:creationId xmlns:a16="http://schemas.microsoft.com/office/drawing/2014/main" id="{5ECFA3B5-C53F-42B4-B334-FF7EB80B67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k-SK"/>
          </a:p>
        </p:txBody>
      </p:sp>
      <p:sp>
        <p:nvSpPr>
          <p:cNvPr id="4" name="Zástupný objekt pre text 3">
            <a:extLst>
              <a:ext uri="{FF2B5EF4-FFF2-40B4-BE49-F238E27FC236}">
                <a16:creationId xmlns:a16="http://schemas.microsoft.com/office/drawing/2014/main" id="{5F18136C-D9C3-4FFC-9734-E678417F80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F7E7E94A-31DE-4A52-83F8-1DE8BEC3E6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FE452-6AC6-45D0-8ED9-79239B7E9190}" type="datetimeFigureOut">
              <a:rPr lang="sk-SK" smtClean="0"/>
              <a:t>30.04.2026</a:t>
            </a:fld>
            <a:endParaRPr lang="sk-SK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BDD7FEA1-2118-40B1-8863-5B5993C2B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10285D9B-178A-41C4-87D1-D93FA878AF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7477809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nadpis 1">
            <a:extLst>
              <a:ext uri="{FF2B5EF4-FFF2-40B4-BE49-F238E27FC236}">
                <a16:creationId xmlns:a16="http://schemas.microsoft.com/office/drawing/2014/main" id="{F772BE4B-9F2F-49CE-B48A-891AAD4477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text 2">
            <a:extLst>
              <a:ext uri="{FF2B5EF4-FFF2-40B4-BE49-F238E27FC236}">
                <a16:creationId xmlns:a16="http://schemas.microsoft.com/office/drawing/2014/main" id="{1E1663A4-EE61-4DAE-9E6E-721EB8E9B7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5A8933D5-42DA-442B-B8CE-90FD2319EF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AFE452-6AC6-45D0-8ED9-79239B7E9190}" type="datetimeFigureOut">
              <a:rPr lang="sk-SK" smtClean="0"/>
              <a:t>30.04.2026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53C3D738-5D6D-46BE-8211-26193C909F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8B5A5314-C2F5-4F8D-AB9D-1BCDDA7F33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DE044B-9CBB-4789-9DD1-59575B46BE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19333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270" imgH="270" progId="TCLayout.ActiveDocument.1">
                  <p:embed/>
                </p:oleObj>
              </mc:Choice>
              <mc:Fallback>
                <p:oleObj name="think-cell Folie" r:id="rId26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U:\Danfoss\Jobs\5123_Hjaelp til PowerPoint skabeloner\Received\Nyeste grafikker\Ny Grafik til SD\Ny Grafik til SD\PPT__4-3_bottom_bar.png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95022"/>
            <a:ext cx="12192000" cy="4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U:\Danfoss\Jobs\5123_Hjaelp til PowerPoint skabeloner\Received\Nyeste grafikker\Ny Grafik til SD\Ny Grafik til SD\PPT__4-3_bottom_bar_logo-only.png"/>
          <p:cNvPicPr>
            <a:picLocks noChangeAspect="1" noChangeArrowheads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95022"/>
            <a:ext cx="12192000" cy="4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8799" y="295275"/>
            <a:ext cx="11078633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8801" y="1341438"/>
            <a:ext cx="11078633" cy="467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32" name="Page #"/>
          <p:cNvSpPr txBox="1">
            <a:spLocks noChangeArrowheads="1"/>
          </p:cNvSpPr>
          <p:nvPr/>
        </p:nvSpPr>
        <p:spPr bwMode="auto">
          <a:xfrm>
            <a:off x="85908" y="6620799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>
                <a:solidFill>
                  <a:prstClr val="white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prstClr val="white"/>
                </a:solidFill>
                <a:ea typeface="SimHei"/>
                <a:cs typeface="Arial" charset="0"/>
              </a:rPr>
              <a:t> </a:t>
            </a:r>
            <a:r>
              <a:rPr lang="en-GB" sz="900" dirty="0">
                <a:solidFill>
                  <a:prstClr val="white"/>
                </a:solidFill>
                <a:ea typeface="SimHei"/>
                <a:cs typeface="Arial" charset="0"/>
              </a:rPr>
              <a:t>|</a:t>
            </a:r>
          </a:p>
        </p:txBody>
      </p: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647699" y="6620189"/>
            <a:ext cx="5330676" cy="12223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</a:pPr>
            <a:r>
              <a:rPr lang="sk-SK" sz="800" dirty="0">
                <a:solidFill>
                  <a:prstClr val="white"/>
                </a:solidFill>
                <a:ea typeface="SimHei"/>
                <a:cs typeface="Arial" charset="0"/>
              </a:rPr>
              <a:t>Politika</a:t>
            </a:r>
            <a:r>
              <a:rPr lang="sk-SK" sz="800" baseline="0" dirty="0">
                <a:solidFill>
                  <a:prstClr val="white"/>
                </a:solidFill>
                <a:ea typeface="SimHei"/>
                <a:cs typeface="Arial" charset="0"/>
              </a:rPr>
              <a:t> QES 2019, rev.G</a:t>
            </a:r>
            <a:r>
              <a:rPr lang="en-GB" sz="800" dirty="0">
                <a:solidFill>
                  <a:prstClr val="white"/>
                </a:solidFill>
                <a:ea typeface="SimHei"/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30349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0328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61F2C47-C654-4CE9-BE6C-4E462EFA0C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JM" b="1" dirty="0">
                <a:latin typeface="Arial" panose="020B0604020202020204" pitchFamily="34" charset="0"/>
                <a:cs typeface="Arial" panose="020B0604020202020204" pitchFamily="34" charset="0"/>
              </a:rPr>
              <a:t>Content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EA11B612-6E19-4D13-B054-BCF8E7C632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185" y="1416083"/>
            <a:ext cx="11076305" cy="4459146"/>
          </a:xfrm>
        </p:spPr>
        <p:txBody>
          <a:bodyPr>
            <a:normAutofit fontScale="70000" lnSpcReduction="20000"/>
          </a:bodyPr>
          <a:lstStyle/>
          <a:p>
            <a:pPr algn="just"/>
            <a:r>
              <a:rPr lang="sk-SK" dirty="0"/>
              <a:t>Spoločnosť IMC Slovakia, s.r.o. si plne uvedomuje svoju zodpovednosť za zlepšovanie hospodárenia s energiami a energetickými médiami, s cieľom znižovania spotreby energií, skleníkových plynov a nákladov  prostredníctvom energetického manažérstva. Aktívne k tomu využíva uplatňovanie systému hospodárenia s energiami (</a:t>
            </a:r>
            <a:r>
              <a:rPr lang="sk-SK" dirty="0" err="1"/>
              <a:t>EnMS</a:t>
            </a:r>
            <a:r>
              <a:rPr lang="sk-SK" dirty="0"/>
              <a:t>) podľa ISO 50001. </a:t>
            </a:r>
            <a:endParaRPr lang="en-GB" dirty="0"/>
          </a:p>
          <a:p>
            <a:pPr algn="just"/>
            <a:r>
              <a:rPr lang="sk-SK" dirty="0"/>
              <a:t>V súlade so strategickými zámermi spoločnosti, na základe vykonávaných meraní a energetických cieľov,  sa zaväzujeme:</a:t>
            </a:r>
            <a:endParaRPr lang="en-GB" dirty="0"/>
          </a:p>
          <a:p>
            <a:pPr lvl="1" algn="just"/>
            <a:r>
              <a:rPr lang="sk-SK" dirty="0"/>
              <a:t>Neustále zabezpečovať dostupnosť informácií a potrebných zdrojov na dosiahnutie zámerov a cieľov, zlepšovať hospodárenie s energiami a energetickými médiami, v rámci celej spoločnosti IMC Slovakia, s.r.o. Pritom zohľadňovať všeobecne záväzné právne predpisy v Slovenskej republike, Európskej únii a iné požiadavky, schválené spoločnosťou v oblasti hospodárenia s energiami</a:t>
            </a:r>
            <a:endParaRPr lang="en-GB" dirty="0"/>
          </a:p>
          <a:p>
            <a:pPr lvl="1" algn="just"/>
            <a:r>
              <a:rPr lang="sk-SK" dirty="0"/>
              <a:t>Prijímať a presadzovať také opatrenia, ktoré ponúkajú najlepšie možnosti úspor energie a zabezpečujú neustále znižovanie energetickej náročnosti výroby, pri zohľadnení ekonomických podmienok a efektívnosti daných opatrení</a:t>
            </a:r>
            <a:endParaRPr lang="en-GB" dirty="0"/>
          </a:p>
          <a:p>
            <a:pPr lvl="1" algn="just"/>
            <a:r>
              <a:rPr lang="sk-SK" dirty="0"/>
              <a:t>Preferovať nákup energeticky účinných výrobkov, technológií, zariadení a služieb, ktoré sú určené na zlepšovanie hospodárenia s energiami a znižovanie energetickej náročnosti</a:t>
            </a:r>
            <a:endParaRPr lang="en-GB" dirty="0"/>
          </a:p>
          <a:p>
            <a:pPr lvl="1" algn="just"/>
            <a:r>
              <a:rPr lang="sk-SK" dirty="0"/>
              <a:t>Neustále zvyšovať povedomie všetkých zamestnancov v IMC Slovakia, s.r.o. v oblasti hospodárenia s energiami a realizovanými opatreniami v rámci energetického manažérstva</a:t>
            </a:r>
          </a:p>
          <a:p>
            <a:pPr marL="228600" lvl="1" algn="just">
              <a:spcBef>
                <a:spcPts val="1000"/>
              </a:spcBef>
            </a:pPr>
            <a:r>
              <a:rPr lang="sk-SK" sz="2900" dirty="0"/>
              <a:t>Vedenie spoločnosti zaväzuje všetkých svojich, ako aj externých zamestnancov, pôsobiacich v areáli spoločnosti IMC Slovakia, s.r.o., k napĺňaniu uvedených zámerov a očakáva ich plnú angažovanosť.</a:t>
            </a:r>
            <a:endParaRPr lang="en-GB" sz="2900" dirty="0"/>
          </a:p>
          <a:p>
            <a:pPr lvl="1"/>
            <a:endParaRPr lang="en-GB" dirty="0"/>
          </a:p>
        </p:txBody>
      </p:sp>
      <p:grpSp>
        <p:nvGrpSpPr>
          <p:cNvPr id="4" name="Skupina 3">
            <a:extLst>
              <a:ext uri="{FF2B5EF4-FFF2-40B4-BE49-F238E27FC236}">
                <a16:creationId xmlns:a16="http://schemas.microsoft.com/office/drawing/2014/main" id="{47207C15-3572-4DC5-9920-32A175B643F6}"/>
              </a:ext>
            </a:extLst>
          </p:cNvPr>
          <p:cNvGrpSpPr/>
          <p:nvPr/>
        </p:nvGrpSpPr>
        <p:grpSpPr>
          <a:xfrm>
            <a:off x="-109057" y="96763"/>
            <a:ext cx="12292668" cy="1325563"/>
            <a:chOff x="-109057" y="96763"/>
            <a:chExt cx="12292668" cy="1325563"/>
          </a:xfrm>
        </p:grpSpPr>
        <p:sp>
          <p:nvSpPr>
            <p:cNvPr id="139" name="Obdĺžnik 138">
              <a:extLst>
                <a:ext uri="{FF2B5EF4-FFF2-40B4-BE49-F238E27FC236}">
                  <a16:creationId xmlns:a16="http://schemas.microsoft.com/office/drawing/2014/main" id="{BB434340-EB2E-4D9A-A56C-D2E21BE97420}"/>
                </a:ext>
              </a:extLst>
            </p:cNvPr>
            <p:cNvSpPr/>
            <p:nvPr/>
          </p:nvSpPr>
          <p:spPr>
            <a:xfrm flipV="1">
              <a:off x="-109057" y="247112"/>
              <a:ext cx="11942299" cy="101862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0"/>
                    <a:lumOff val="100000"/>
                  </a:schemeClr>
                </a:gs>
                <a:gs pos="35000">
                  <a:schemeClr val="accent1">
                    <a:lumMod val="0"/>
                    <a:lumOff val="100000"/>
                  </a:schemeClr>
                </a:gs>
                <a:gs pos="100000">
                  <a:srgbClr val="778BC3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Nadpis 1">
              <a:extLst>
                <a:ext uri="{FF2B5EF4-FFF2-40B4-BE49-F238E27FC236}">
                  <a16:creationId xmlns:a16="http://schemas.microsoft.com/office/drawing/2014/main" id="{761F2C47-C654-4CE9-BE6C-4E462EFA0CFE}"/>
                </a:ext>
              </a:extLst>
            </p:cNvPr>
            <p:cNvSpPr txBox="1">
              <a:spLocks/>
            </p:cNvSpPr>
            <p:nvPr/>
          </p:nvSpPr>
          <p:spPr>
            <a:xfrm>
              <a:off x="838200" y="96763"/>
              <a:ext cx="10515600" cy="1325563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k-SK" sz="3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Energetická politika </a:t>
              </a:r>
            </a:p>
          </p:txBody>
        </p:sp>
        <p:cxnSp>
          <p:nvCxnSpPr>
            <p:cNvPr id="26" name="Rovná spojnica 25">
              <a:extLst>
                <a:ext uri="{FF2B5EF4-FFF2-40B4-BE49-F238E27FC236}">
                  <a16:creationId xmlns:a16="http://schemas.microsoft.com/office/drawing/2014/main" id="{1E3A8C02-224E-499A-A65E-08CEBBBA168E}"/>
                </a:ext>
              </a:extLst>
            </p:cNvPr>
            <p:cNvCxnSpPr/>
            <p:nvPr/>
          </p:nvCxnSpPr>
          <p:spPr>
            <a:xfrm>
              <a:off x="-97726" y="1265734"/>
              <a:ext cx="12281337" cy="0"/>
            </a:xfrm>
            <a:prstGeom prst="line">
              <a:avLst/>
            </a:prstGeom>
            <a:ln w="38100">
              <a:solidFill>
                <a:srgbClr val="00006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7" name="Obrázok 36">
            <a:extLst>
              <a:ext uri="{FF2B5EF4-FFF2-40B4-BE49-F238E27FC236}">
                <a16:creationId xmlns:a16="http://schemas.microsoft.com/office/drawing/2014/main" id="{53B09E30-F004-4BBE-8196-2223F7CC672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29" y="447192"/>
            <a:ext cx="842023" cy="3461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1" name="Obdĺžnik 20">
            <a:extLst>
              <a:ext uri="{FF2B5EF4-FFF2-40B4-BE49-F238E27FC236}">
                <a16:creationId xmlns:a16="http://schemas.microsoft.com/office/drawing/2014/main" id="{A1BE8B4D-F166-43C5-BADD-CB76ADD92050}"/>
              </a:ext>
            </a:extLst>
          </p:cNvPr>
          <p:cNvSpPr/>
          <p:nvPr/>
        </p:nvSpPr>
        <p:spPr>
          <a:xfrm flipV="1">
            <a:off x="558" y="6565914"/>
            <a:ext cx="12183053" cy="29968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35000">
                <a:schemeClr val="accent1">
                  <a:lumMod val="0"/>
                  <a:lumOff val="100000"/>
                </a:schemeClr>
              </a:gs>
              <a:gs pos="100000">
                <a:srgbClr val="778BC3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BlokTextu 7">
            <a:extLst>
              <a:ext uri="{FF2B5EF4-FFF2-40B4-BE49-F238E27FC236}">
                <a16:creationId xmlns:a16="http://schemas.microsoft.com/office/drawing/2014/main" id="{92663714-4488-4347-AEC1-60ABC84CEBB4}"/>
              </a:ext>
            </a:extLst>
          </p:cNvPr>
          <p:cNvSpPr txBox="1"/>
          <p:nvPr/>
        </p:nvSpPr>
        <p:spPr>
          <a:xfrm>
            <a:off x="526977" y="6588845"/>
            <a:ext cx="16049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ergetická kvalita, Rev. A</a:t>
            </a:r>
          </a:p>
        </p:txBody>
      </p:sp>
      <p:sp>
        <p:nvSpPr>
          <p:cNvPr id="12" name="Obdĺžnik 11">
            <a:extLst>
              <a:ext uri="{FF2B5EF4-FFF2-40B4-BE49-F238E27FC236}">
                <a16:creationId xmlns:a16="http://schemas.microsoft.com/office/drawing/2014/main" id="{E0A319EC-2107-43BA-80A4-CEBF74B396E7}"/>
              </a:ext>
            </a:extLst>
          </p:cNvPr>
          <p:cNvSpPr/>
          <p:nvPr/>
        </p:nvSpPr>
        <p:spPr>
          <a:xfrm>
            <a:off x="2612994" y="5985044"/>
            <a:ext cx="609600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Sc</a:t>
            </a:r>
            <a:r>
              <a:rPr kumimoji="0" lang="sk-S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Jaroslav Ďurkovský, </a:t>
            </a:r>
            <a:r>
              <a:rPr kumimoji="0" lang="sk-SK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.r</a:t>
            </a:r>
            <a:r>
              <a:rPr kumimoji="0" lang="sk-S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  <a:endParaRPr kumimoji="0" lang="sk-SK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erálny riaditeľ a prokurista IMC Slovakia, s.r.o.</a:t>
            </a:r>
            <a:endParaRPr kumimoji="0" lang="sk-SK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latnosť od 1.5.2026</a:t>
            </a:r>
            <a:endParaRPr kumimoji="0" lang="sk-SK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6" name="Obrázok 5">
            <a:extLst>
              <a:ext uri="{FF2B5EF4-FFF2-40B4-BE49-F238E27FC236}">
                <a16:creationId xmlns:a16="http://schemas.microsoft.com/office/drawing/2014/main" id="{018E6FE9-38F2-4093-945B-59E5358820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94207" y="5541972"/>
            <a:ext cx="1489404" cy="13160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8249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ív balík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lank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3.xml><?xml version="1.0" encoding="utf-8"?>
<a:theme xmlns:a="http://schemas.openxmlformats.org/drawingml/2006/main" name="Motív balík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EBBE5B8D8CFA54C9289A578CBDBE8A9" ma:contentTypeVersion="15" ma:contentTypeDescription="Umožňuje vytvoriť nový dokument." ma:contentTypeScope="" ma:versionID="e5bb0516c922cf8203cb7229a1dbfcb0">
  <xsd:schema xmlns:xsd="http://www.w3.org/2001/XMLSchema" xmlns:xs="http://www.w3.org/2001/XMLSchema" xmlns:p="http://schemas.microsoft.com/office/2006/metadata/properties" xmlns:ns3="294a68bd-2425-419b-bb00-719997c76c47" xmlns:ns4="dab4787f-5e1a-4a89-9f9e-c9b05e3c10b0" targetNamespace="http://schemas.microsoft.com/office/2006/metadata/properties" ma:root="true" ma:fieldsID="56a7286924ae9ab9cce4213acbb34d77" ns3:_="" ns4:_="">
    <xsd:import namespace="294a68bd-2425-419b-bb00-719997c76c47"/>
    <xsd:import namespace="dab4787f-5e1a-4a89-9f9e-c9b05e3c10b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4a68bd-2425-419b-bb00-719997c76c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b4787f-5e1a-4a89-9f9e-c9b05e3c10b0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Zdieľa sa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Zdieľané s podrobnosťami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2" nillable="true" ma:displayName="Príkaz hash indikátora zdieľania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94a68bd-2425-419b-bb00-719997c76c47" xsi:nil="true"/>
  </documentManagement>
</p:properties>
</file>

<file path=customXml/itemProps1.xml><?xml version="1.0" encoding="utf-8"?>
<ds:datastoreItem xmlns:ds="http://schemas.openxmlformats.org/officeDocument/2006/customXml" ds:itemID="{79750FC0-725F-4BCE-B7C6-4E79FAA733E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E811AB2-15BE-4E3D-8BD2-31987F0FFD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4a68bd-2425-419b-bb00-719997c76c47"/>
    <ds:schemaRef ds:uri="dab4787f-5e1a-4a89-9f9e-c9b05e3c10b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F15ED20-D8C5-4342-A747-1D3C2F72D214}">
  <ds:schemaRefs>
    <ds:schemaRef ds:uri="http://schemas.microsoft.com/office/2006/documentManagement/types"/>
    <ds:schemaRef ds:uri="http://purl.org/dc/elements/1.1/"/>
    <ds:schemaRef ds:uri="http://purl.org/dc/dcmitype/"/>
    <ds:schemaRef ds:uri="294a68bd-2425-419b-bb00-719997c76c47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terms/"/>
    <ds:schemaRef ds:uri="http://schemas.microsoft.com/office/2006/metadata/properties"/>
    <ds:schemaRef ds:uri="dab4787f-5e1a-4a89-9f9e-c9b05e3c10b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3</TotalTime>
  <Words>277</Words>
  <Application>Microsoft Office PowerPoint</Application>
  <PresentationFormat>Širokouhlá</PresentationFormat>
  <Paragraphs>14</Paragraphs>
  <Slides>1</Slides>
  <Notes>1</Notes>
  <HiddenSlides>0</HiddenSlides>
  <MMClips>0</MMClips>
  <ScaleCrop>false</ScaleCrop>
  <HeadingPairs>
    <vt:vector size="8" baseType="variant">
      <vt:variant>
        <vt:lpstr>Použité písma</vt:lpstr>
      </vt:variant>
      <vt:variant>
        <vt:i4>5</vt:i4>
      </vt:variant>
      <vt:variant>
        <vt:lpstr>Motí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</vt:i4>
      </vt:variant>
    </vt:vector>
  </HeadingPairs>
  <TitlesOfParts>
    <vt:vector size="9" baseType="lpstr">
      <vt:lpstr>SimHei</vt:lpstr>
      <vt:lpstr>Arial</vt:lpstr>
      <vt:lpstr>Calibri</vt:lpstr>
      <vt:lpstr>Calibri Light</vt:lpstr>
      <vt:lpstr>Verdana</vt:lpstr>
      <vt:lpstr>Motív balíka Office</vt:lpstr>
      <vt:lpstr>1_Blank</vt:lpstr>
      <vt:lpstr>think-cell Folie</vt:lpstr>
      <vt:lpstr>Cont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tent</dc:title>
  <dc:creator>Valková Eva</dc:creator>
  <cp:lastModifiedBy>Hrušík Peter</cp:lastModifiedBy>
  <cp:revision>8</cp:revision>
  <cp:lastPrinted>2026-04-30T07:33:12Z</cp:lastPrinted>
  <dcterms:created xsi:type="dcterms:W3CDTF">2023-03-02T07:00:53Z</dcterms:created>
  <dcterms:modified xsi:type="dcterms:W3CDTF">2026-04-30T07:3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BBE5B8D8CFA54C9289A578CBDBE8A9</vt:lpwstr>
  </property>
</Properties>
</file>